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  <a:srgbClr val="E2E4E2"/>
    <a:srgbClr val="F3F4F3"/>
    <a:srgbClr val="BFBFBF"/>
    <a:srgbClr val="909090"/>
    <a:srgbClr val="5A5A5A"/>
    <a:srgbClr val="D0D0D0"/>
    <a:srgbClr val="009999"/>
    <a:srgbClr val="007CC4"/>
    <a:srgbClr val="E2007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68" autoAdjust="0"/>
    <p:restoredTop sz="94694" autoAdjust="0"/>
  </p:normalViewPr>
  <p:slideViewPr>
    <p:cSldViewPr snapToGrid="0" snapToObjects="1">
      <p:cViewPr>
        <p:scale>
          <a:sx n="140" d="100"/>
          <a:sy n="140" d="100"/>
        </p:scale>
        <p:origin x="1350" y="147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orient="horz" pos="162"/>
        <p:guide orient="horz" pos="1620"/>
        <p:guide orient="horz" pos="738"/>
        <p:guide orient="horz" pos="2592"/>
        <p:guide orient="horz" pos="558"/>
        <p:guide orient="horz" pos="2772"/>
        <p:guide orient="horz" pos="2952"/>
        <p:guide orient="horz" pos="30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  <p:guide pos="1539"/>
        <p:guide pos="1466"/>
        <p:guide pos="162"/>
        <p:guide pos="5598"/>
        <p:guide pos="4294"/>
        <p:guide pos="4220"/>
        <p:guide pos="2916"/>
        <p:guide pos="2844"/>
        <p:guide pos="288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3736200" cy="7373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28478EA2AD1D489471C4B5515777C3" ma:contentTypeVersion="1" ma:contentTypeDescription="Create a new document." ma:contentTypeScope="" ma:versionID="35d3ae60f4dbd19a68ac3a2a42a570a1">
  <xsd:schema xmlns:xsd="http://www.w3.org/2001/XMLSchema" xmlns:xs="http://www.w3.org/2001/XMLSchema" xmlns:p="http://schemas.microsoft.com/office/2006/metadata/properties" xmlns:ns1="http://schemas.microsoft.com/sharepoint/v3" xmlns:ns2="9c7a3f5a-103c-4077-9cda-80f1a39582e5" targetNamespace="http://schemas.microsoft.com/office/2006/metadata/properties" ma:root="true" ma:fieldsID="c97caf6035d8bdc6b1bdf3333dc24de1" ns1:_="" ns2:_="">
    <xsd:import namespace="http://schemas.microsoft.com/sharepoint/v3"/>
    <xsd:import namespace="9c7a3f5a-103c-4077-9cda-80f1a39582e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Bemerkung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7a3f5a-103c-4077-9cda-80f1a39582e5" elementFormDefault="qualified">
    <xsd:import namespace="http://schemas.microsoft.com/office/2006/documentManagement/types"/>
    <xsd:import namespace="http://schemas.microsoft.com/office/infopath/2007/PartnerControls"/>
    <xsd:element name="Bemerkungen" ma:index="10" nillable="true" ma:displayName="Comments" ma:default="" ma:internalName="Bemerkungen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emerkungen xmlns="9c7a3f5a-103c-4077-9cda-80f1a39582e5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D0D15C0-8E87-41D9-90A7-4F4A3F7CEE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7EA698-F87B-483B-A6E0-853E4ADA06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c7a3f5a-103c-4077-9cda-80f1a39582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99A024-8A88-4194-9887-3DE19957ECDA}">
  <ds:schemaRefs>
    <ds:schemaRef ds:uri="9c7a3f5a-103c-4077-9cda-80f1a39582e5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PF DT-Benocs</Template>
  <TotalTime>0</TotalTime>
  <Words>829</Words>
  <Application>Microsoft Office PowerPoint</Application>
  <PresentationFormat>Bildschirmpräsentation (16:9)</PresentationFormat>
  <Paragraphs>203</Paragraphs>
  <Slides>1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9" baseType="lpstr">
      <vt:lpstr>Arial</vt:lpstr>
      <vt:lpstr>Tele-GroteskNor</vt:lpstr>
      <vt:lpstr>Arial Unicode MS</vt:lpstr>
      <vt:lpstr>TeleGrotesk Headline Ultra</vt:lpstr>
      <vt:lpstr>Tele-GroteskUlt</vt:lpstr>
      <vt:lpstr>Avenir LT Std 35 Light</vt:lpstr>
      <vt:lpstr>Tele-GroteskFet</vt:lpstr>
      <vt:lpstr>Sintony</vt:lpstr>
      <vt:lpstr>Swagger</vt:lpstr>
      <vt:lpstr>Tele-GroteskHal</vt:lpstr>
      <vt:lpstr>Wingdings</vt:lpstr>
      <vt:lpstr>Avenir LT Std 55 Roman</vt:lpstr>
      <vt:lpstr>Symbol</vt:lpstr>
      <vt:lpstr>David</vt:lpstr>
      <vt:lpstr>Wingdings 2</vt:lpstr>
      <vt:lpstr>TeleGrotesk Headline</vt:lpstr>
      <vt:lpstr>GPF DT-Benocs</vt:lpstr>
      <vt:lpstr>think-cell Folie</vt:lpstr>
      <vt:lpstr>Folie 1</vt:lpstr>
      <vt:lpstr>LACK OF TRANSPARENCY  IMPAIRS  internet performance </vt:lpstr>
      <vt:lpstr>analytics of traffic flows live in 3320, 5483, … extending</vt:lpstr>
      <vt:lpstr>Analytics insight provides value to whole ecosystem</vt:lpstr>
      <vt:lpstr>“vision gaps” of Content players have Real effects:</vt:lpstr>
      <vt:lpstr>Dt Provides “navigation service” to cdns/OTTs – to optimize performance/Quality &amp; cost efficiency</vt:lpstr>
      <vt:lpstr>Analytics for Operators; Flow Direction FOR CDNs/OTTs</vt:lpstr>
      <vt:lpstr>A new, forward-looking interface for cdns/otts by DT </vt:lpstr>
      <vt:lpstr>Thank you for your attention! Questions ?</vt:lpstr>
      <vt:lpstr>Backup</vt:lpstr>
      <vt:lpstr>aBSTRACT</vt:lpstr>
    </vt:vector>
  </TitlesOfParts>
  <Company>DTAG, Laboratori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alk von Bornstaedt</dc:creator>
  <cp:lastModifiedBy>Falk</cp:lastModifiedBy>
  <cp:revision>201</cp:revision>
  <dcterms:created xsi:type="dcterms:W3CDTF">2016-02-25T16:50:01Z</dcterms:created>
  <dcterms:modified xsi:type="dcterms:W3CDTF">2017-10-23T13:5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28478EA2AD1D489471C4B5515777C3</vt:lpwstr>
  </property>
</Properties>
</file>